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06" r:id="rId1"/>
  </p:sldMasterIdLst>
  <p:notesMasterIdLst>
    <p:notesMasterId r:id="rId3"/>
  </p:notesMasterIdLst>
  <p:sldIdLst>
    <p:sldId id="279" r:id="rId2"/>
  </p:sldIdLst>
  <p:sldSz cx="12801600" cy="9601200" type="A3"/>
  <p:notesSz cx="6797675" cy="9926638"/>
  <p:defaultTextStyle>
    <a:defPPr lvl="0">
      <a:defRPr lang="en-US"/>
    </a:defPPr>
    <a:lvl1pPr marL="0" lv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F9CF"/>
    <a:srgbClr val="9FE09C"/>
    <a:srgbClr val="B5DE99"/>
    <a:srgbClr val="D9D9D9"/>
    <a:srgbClr val="990101"/>
    <a:srgbClr val="FDBBBD"/>
    <a:srgbClr val="FFC1C1"/>
    <a:srgbClr val="E692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796" autoAdjust="0"/>
  </p:normalViewPr>
  <p:slideViewPr>
    <p:cSldViewPr snapToGrid="0">
      <p:cViewPr varScale="1">
        <p:scale>
          <a:sx n="83" d="100"/>
          <a:sy n="83" d="100"/>
        </p:scale>
        <p:origin x="1398" y="90"/>
      </p:cViewPr>
      <p:guideLst>
        <p:guide orient="horz" pos="3024"/>
        <p:guide pos="403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3CA9ED-4081-4021-AE6F-635021FAF79A}" type="datetimeFigureOut">
              <a:rPr lang="ru-RU" smtClean="0"/>
              <a:t>15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1A4584-1CF3-4651-AAD6-3B85BD2424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4860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1A4584-1CF3-4651-AAD6-3B85BD2424F9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6764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3E5183F6-3C7E-44B3-B6D9-562EABFC4B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615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="" xmlns:a16="http://schemas.microsoft.com/office/drawing/2014/main" id="{3E5183F6-3C7E-44B3-B6D9-562EABFC4B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0605" y="137016"/>
            <a:ext cx="10181297" cy="1106685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322036" y="1913405"/>
            <a:ext cx="5157453" cy="3841338"/>
          </a:xfrm>
        </p:spPr>
        <p:txBody>
          <a:bodyPr>
            <a:normAutofit/>
          </a:bodyPr>
          <a:lstStyle>
            <a:lvl1pPr marL="231830" indent="-231830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0110" y="8982647"/>
            <a:ext cx="288036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0533" y="8982647"/>
            <a:ext cx="432054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8858" y="9040391"/>
            <a:ext cx="660631" cy="395676"/>
          </a:xfrm>
        </p:spPr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322037" y="1391044"/>
            <a:ext cx="5157454" cy="483204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809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590857" indent="0" algn="ctr">
              <a:buNone/>
              <a:defRPr sz="2584"/>
            </a:lvl2pPr>
            <a:lvl3pPr marL="1181716" indent="0" algn="ctr">
              <a:buNone/>
              <a:defRPr sz="2327"/>
            </a:lvl3pPr>
            <a:lvl4pPr marL="1772574" indent="0" algn="ctr">
              <a:buNone/>
              <a:defRPr sz="2068"/>
            </a:lvl4pPr>
            <a:lvl5pPr marL="2363431" indent="0" algn="ctr">
              <a:buNone/>
              <a:defRPr sz="2068"/>
            </a:lvl5pPr>
            <a:lvl6pPr marL="2954290" indent="0" algn="ctr">
              <a:buNone/>
              <a:defRPr sz="2068"/>
            </a:lvl6pPr>
            <a:lvl7pPr marL="3545147" indent="0" algn="ctr">
              <a:buNone/>
              <a:defRPr sz="2068"/>
            </a:lvl7pPr>
            <a:lvl8pPr marL="4136005" indent="0" algn="ctr">
              <a:buNone/>
              <a:defRPr sz="2068"/>
            </a:lvl8pPr>
            <a:lvl9pPr marL="4726863" indent="0" algn="ctr">
              <a:buNone/>
              <a:defRPr sz="2068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41149" y="1391046"/>
            <a:ext cx="6480810" cy="7166694"/>
          </a:xfrm>
        </p:spPr>
        <p:txBody>
          <a:bodyPr>
            <a:normAutofit/>
          </a:bodyPr>
          <a:lstStyle>
            <a:lvl1pPr marL="0" indent="0">
              <a:buNone/>
              <a:defRPr sz="1551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331357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292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981869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292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 flipH="1">
            <a:off x="552189" y="1292124"/>
            <a:ext cx="11927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33F1CC9C-143B-4356-8795-BC71F3F608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5727" y="161409"/>
            <a:ext cx="882000" cy="1048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7989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2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47014307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="" xmlns:a16="http://schemas.microsoft.com/office/drawing/2014/main" id="{3590EA2D-5BB2-461D-A7BC-35F89E83A5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BAD41EC6-78D9-4512-B2AB-FBB941FA054C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</p:sldLayoutIdLst>
  <p:hf hdr="0" ftr="0" dt="0"/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50000">
              <a:schemeClr val="bg2">
                <a:tint val="90000"/>
                <a:satMod val="92000"/>
                <a:lumMod val="120000"/>
              </a:schemeClr>
            </a:gs>
            <a:gs pos="100000">
              <a:schemeClr val="bg2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кругленный прямоугольник 28"/>
          <p:cNvSpPr/>
          <p:nvPr/>
        </p:nvSpPr>
        <p:spPr>
          <a:xfrm>
            <a:off x="176358" y="2231371"/>
            <a:ext cx="6060821" cy="3650445"/>
          </a:xfrm>
          <a:prstGeom prst="roundRect">
            <a:avLst/>
          </a:prstGeom>
          <a:gradFill flip="none" rotWithShape="1">
            <a:gsLst>
              <a:gs pos="0">
                <a:srgbClr val="9FE09C">
                  <a:tint val="66000"/>
                  <a:satMod val="160000"/>
                </a:srgbClr>
              </a:gs>
              <a:gs pos="50000">
                <a:srgbClr val="9FE09C">
                  <a:tint val="44500"/>
                  <a:satMod val="160000"/>
                </a:srgbClr>
              </a:gs>
              <a:gs pos="100000">
                <a:srgbClr val="9FE09C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655265" y="6339079"/>
            <a:ext cx="6000188" cy="2594535"/>
          </a:xfrm>
          <a:prstGeom prst="roundRect">
            <a:avLst/>
          </a:prstGeom>
          <a:solidFill>
            <a:srgbClr val="D1F9CF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10180" y="6339079"/>
            <a:ext cx="6027000" cy="2594535"/>
          </a:xfrm>
          <a:prstGeom prst="roundRect">
            <a:avLst/>
          </a:prstGeom>
          <a:solidFill>
            <a:srgbClr val="D1F9CF">
              <a:alpha val="78000"/>
            </a:srgb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594613" y="2477896"/>
            <a:ext cx="6060840" cy="2861685"/>
          </a:xfrm>
          <a:prstGeom prst="roundRect">
            <a:avLst/>
          </a:prstGeom>
          <a:gradFill flip="none" rotWithShape="1">
            <a:gsLst>
              <a:gs pos="0">
                <a:srgbClr val="9FE09C">
                  <a:tint val="66000"/>
                  <a:satMod val="160000"/>
                </a:srgbClr>
              </a:gs>
              <a:gs pos="50000">
                <a:srgbClr val="9FE09C">
                  <a:tint val="44500"/>
                  <a:satMod val="160000"/>
                </a:srgbClr>
              </a:gs>
              <a:gs pos="100000">
                <a:srgbClr val="9FE09C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269356" y="266649"/>
            <a:ext cx="10181297" cy="756127"/>
          </a:xfrm>
        </p:spPr>
        <p:txBody>
          <a:bodyPr>
            <a:noAutofit/>
          </a:bodyPr>
          <a:lstStyle/>
          <a:p>
            <a:pPr algn="ctr"/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ая инспекция Забайкальского края </a:t>
            </a:r>
            <a:r>
              <a:rPr lang="ru-RU" sz="2800" dirty="0"/>
              <a:t/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10" name="Подзаголовок 9"/>
          <p:cNvSpPr txBox="1">
            <a:spLocks noGrp="1"/>
          </p:cNvSpPr>
          <p:nvPr>
            <p:ph type="subTitle" idx="13"/>
          </p:nvPr>
        </p:nvSpPr>
        <p:spPr>
          <a:xfrm>
            <a:off x="628040" y="2064783"/>
            <a:ext cx="5157454" cy="1368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1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1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й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Объект 13"/>
          <p:cNvSpPr>
            <a:spLocks noGrp="1"/>
          </p:cNvSpPr>
          <p:nvPr>
            <p:ph idx="14"/>
          </p:nvPr>
        </p:nvSpPr>
        <p:spPr>
          <a:xfrm>
            <a:off x="8232360" y="3663811"/>
            <a:ext cx="1251875" cy="85432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ru-RU" sz="4300" b="1" dirty="0">
              <a:solidFill>
                <a:srgbClr val="FF0000"/>
              </a:solidFill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7</a:t>
            </a:r>
            <a:endParaRPr lang="ru-RU" sz="8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5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НМ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Подзаголовок 9"/>
          <p:cNvSpPr txBox="1">
            <a:spLocks/>
          </p:cNvSpPr>
          <p:nvPr/>
        </p:nvSpPr>
        <p:spPr>
          <a:xfrm>
            <a:off x="7275480" y="6592866"/>
            <a:ext cx="5157454" cy="427894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тех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одзаголовок 9"/>
          <p:cNvSpPr txBox="1">
            <a:spLocks/>
          </p:cNvSpPr>
          <p:nvPr/>
        </p:nvSpPr>
        <p:spPr>
          <a:xfrm>
            <a:off x="7097699" y="2809825"/>
            <a:ext cx="5051474" cy="898279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л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одзаголовок 9"/>
          <p:cNvSpPr txBox="1">
            <a:spLocks/>
          </p:cNvSpPr>
          <p:nvPr/>
        </p:nvSpPr>
        <p:spPr>
          <a:xfrm>
            <a:off x="887481" y="6603874"/>
            <a:ext cx="5157454" cy="898279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 долевого строительства</a:t>
            </a: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Объект 13"/>
          <p:cNvSpPr txBox="1">
            <a:spLocks/>
          </p:cNvSpPr>
          <p:nvPr/>
        </p:nvSpPr>
        <p:spPr>
          <a:xfrm>
            <a:off x="839938" y="3398423"/>
            <a:ext cx="4641955" cy="790574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925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ов в надзоре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2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Bef>
                <a:spcPts val="0"/>
              </a:spcBef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 ч с бюджетным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сигнованием - 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</a:t>
            </a:r>
          </a:p>
          <a:p>
            <a:pPr algn="ctr">
              <a:spcBef>
                <a:spcPts val="0"/>
              </a:spcBef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мерческих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7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Объект 13"/>
          <p:cNvSpPr txBox="1">
            <a:spLocks/>
          </p:cNvSpPr>
          <p:nvPr/>
        </p:nvSpPr>
        <p:spPr>
          <a:xfrm>
            <a:off x="11158079" y="3675303"/>
            <a:ext cx="1411810" cy="84282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писа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Объект 13"/>
          <p:cNvSpPr txBox="1">
            <a:spLocks/>
          </p:cNvSpPr>
          <p:nvPr/>
        </p:nvSpPr>
        <p:spPr>
          <a:xfrm>
            <a:off x="9572192" y="3688260"/>
            <a:ext cx="1467455" cy="84857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2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700" dirty="0"/>
          </a:p>
          <a:p>
            <a:pPr algn="ctr"/>
            <a:endParaRPr lang="ru-RU" sz="1700" dirty="0"/>
          </a:p>
          <a:p>
            <a:pPr algn="ctr"/>
            <a:endParaRPr lang="ru-RU" sz="4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6</a:t>
            </a:r>
            <a:endParaRPr lang="ru-RU" sz="80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4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ережений</a:t>
            </a:r>
            <a:endParaRPr lang="ru-RU" sz="4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3600" dirty="0"/>
          </a:p>
          <a:p>
            <a:pPr algn="ctr"/>
            <a:endParaRPr lang="ru-RU" sz="3600" dirty="0">
              <a:solidFill>
                <a:schemeClr val="tx1"/>
              </a:solidFill>
            </a:endParaRP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2" name="Объект 13"/>
          <p:cNvSpPr txBox="1">
            <a:spLocks/>
          </p:cNvSpPr>
          <p:nvPr/>
        </p:nvSpPr>
        <p:spPr>
          <a:xfrm>
            <a:off x="6955216" y="7201767"/>
            <a:ext cx="1675930" cy="103023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775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5</a:t>
            </a:r>
            <a:endParaRPr lang="ru-RU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endParaRPr lang="ru-RU" sz="13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дано </a:t>
            </a:r>
            <a:r>
              <a:rPr lang="ru-RU" sz="1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стоверений </a:t>
            </a:r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акториста-машиниста</a:t>
            </a:r>
          </a:p>
        </p:txBody>
      </p:sp>
      <p:sp>
        <p:nvSpPr>
          <p:cNvPr id="33" name="Объект 13"/>
          <p:cNvSpPr txBox="1">
            <a:spLocks/>
          </p:cNvSpPr>
          <p:nvPr/>
        </p:nvSpPr>
        <p:spPr>
          <a:xfrm>
            <a:off x="8762345" y="7189185"/>
            <a:ext cx="1722181" cy="1055394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8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2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6</a:t>
            </a:r>
            <a:endParaRPr lang="ru-RU" sz="22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хнических осмотров</a:t>
            </a:r>
          </a:p>
        </p:txBody>
      </p:sp>
      <p:sp>
        <p:nvSpPr>
          <p:cNvPr id="34" name="Объект 13"/>
          <p:cNvSpPr txBox="1">
            <a:spLocks/>
          </p:cNvSpPr>
          <p:nvPr/>
        </p:nvSpPr>
        <p:spPr>
          <a:xfrm>
            <a:off x="10710753" y="7204328"/>
            <a:ext cx="1722181" cy="1025107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1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регистрировано самоходных машин</a:t>
            </a:r>
          </a:p>
        </p:txBody>
      </p:sp>
      <p:sp>
        <p:nvSpPr>
          <p:cNvPr id="35" name="Подзаголовок 9"/>
          <p:cNvSpPr txBox="1">
            <a:spLocks/>
          </p:cNvSpPr>
          <p:nvPr/>
        </p:nvSpPr>
        <p:spPr>
          <a:xfrm>
            <a:off x="985252" y="8461492"/>
            <a:ext cx="5157454" cy="358645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информации о застройщиках в ЕИСЖС</a:t>
            </a:r>
          </a:p>
        </p:txBody>
      </p:sp>
      <p:sp>
        <p:nvSpPr>
          <p:cNvPr id="36" name="Объект 13"/>
          <p:cNvSpPr txBox="1">
            <a:spLocks/>
          </p:cNvSpPr>
          <p:nvPr/>
        </p:nvSpPr>
        <p:spPr>
          <a:xfrm>
            <a:off x="2408792" y="7282302"/>
            <a:ext cx="1595951" cy="8691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2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4300" b="1" dirty="0">
              <a:solidFill>
                <a:srgbClr val="FF0000"/>
              </a:solidFill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8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2</a:t>
            </a:r>
            <a:endParaRPr lang="ru-RU" sz="8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5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5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НМ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4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5" name="Объект 13"/>
          <p:cNvSpPr txBox="1">
            <a:spLocks/>
          </p:cNvSpPr>
          <p:nvPr/>
        </p:nvSpPr>
        <p:spPr>
          <a:xfrm>
            <a:off x="6717861" y="3663811"/>
            <a:ext cx="1426542" cy="85432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8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8</a:t>
            </a:r>
            <a:endParaRPr lang="ru-RU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разрешенных обращений граждан</a:t>
            </a:r>
          </a:p>
        </p:txBody>
      </p:sp>
    </p:spTree>
    <p:extLst>
      <p:ext uri="{BB962C8B-B14F-4D97-AF65-F5344CB8AC3E}">
        <p14:creationId xmlns:p14="http://schemas.microsoft.com/office/powerpoint/2010/main" val="2755159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52</TotalTime>
  <Words>57</Words>
  <Application>Microsoft Office PowerPoint</Application>
  <PresentationFormat>A3 (297x420 мм)</PresentationFormat>
  <Paragraphs>39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imes New Roman</vt:lpstr>
      <vt:lpstr>Office Theme</vt:lpstr>
      <vt:lpstr>think-cell Slide</vt:lpstr>
      <vt:lpstr> Государственная инспекция Забайкальского края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АЛИЗАЦИЯ ПРОГРАММЫ «ДАЛЬНЕВОСТОЧНАЯ ИПОТЕКА» НА ТЕРРИТОРИИ ЗАБАЙКАЛЬСКОГО КРАЯ</dc:title>
  <dc:creator>аупеупеу</dc:creator>
  <cp:lastModifiedBy>Кузьмина Дарья Викторовна</cp:lastModifiedBy>
  <cp:revision>234</cp:revision>
  <cp:lastPrinted>2023-07-07T05:26:12Z</cp:lastPrinted>
  <dcterms:modified xsi:type="dcterms:W3CDTF">2024-03-15T02:05:42Z</dcterms:modified>
</cp:coreProperties>
</file>